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4"/>
  </p:sldMasterIdLst>
  <p:notesMasterIdLst>
    <p:notesMasterId r:id="rId13"/>
  </p:notesMasterIdLst>
  <p:handoutMasterIdLst>
    <p:handoutMasterId r:id="rId14"/>
  </p:handoutMasterIdLst>
  <p:sldIdLst>
    <p:sldId id="1207" r:id="rId5"/>
    <p:sldId id="1209" r:id="rId6"/>
    <p:sldId id="1210" r:id="rId7"/>
    <p:sldId id="1214" r:id="rId8"/>
    <p:sldId id="1211" r:id="rId9"/>
    <p:sldId id="1212" r:id="rId10"/>
    <p:sldId id="1213" r:id="rId11"/>
    <p:sldId id="1208" r:id="rId12"/>
  </p:sldIdLst>
  <p:sldSz cx="9144000" cy="5715000" type="screen16x10"/>
  <p:notesSz cx="6805613" cy="9944100"/>
  <p:custDataLst>
    <p:tags r:id="rId15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orient="horz" pos="2478">
          <p15:clr>
            <a:srgbClr val="A4A3A4"/>
          </p15:clr>
        </p15:guide>
        <p15:guide id="3" orient="horz" pos="2843">
          <p15:clr>
            <a:srgbClr val="A4A3A4"/>
          </p15:clr>
        </p15:guide>
        <p15:guide id="4" orient="horz" pos="3521">
          <p15:clr>
            <a:srgbClr val="A4A3A4"/>
          </p15:clr>
        </p15:guide>
        <p15:guide id="5" orient="horz" pos="3982">
          <p15:clr>
            <a:srgbClr val="A4A3A4"/>
          </p15:clr>
        </p15:guide>
        <p15:guide id="6" orient="horz" pos="799">
          <p15:clr>
            <a:srgbClr val="A4A3A4"/>
          </p15:clr>
        </p15:guide>
        <p15:guide id="7" orient="horz" pos="1480">
          <p15:clr>
            <a:srgbClr val="A4A3A4"/>
          </p15:clr>
        </p15:guide>
        <p15:guide id="8" pos="2880">
          <p15:clr>
            <a:srgbClr val="A4A3A4"/>
          </p15:clr>
        </p15:guide>
        <p15:guide id="9" pos="2304">
          <p15:clr>
            <a:srgbClr val="A4A3A4"/>
          </p15:clr>
        </p15:guide>
        <p15:guide id="10" pos="528">
          <p15:clr>
            <a:srgbClr val="A4A3A4"/>
          </p15:clr>
        </p15:guide>
        <p15:guide id="11" orient="horz" pos="1800">
          <p15:clr>
            <a:srgbClr val="A4A3A4"/>
          </p15:clr>
        </p15:guide>
        <p15:guide id="12" orient="horz" pos="2065">
          <p15:clr>
            <a:srgbClr val="A4A3A4"/>
          </p15:clr>
        </p15:guide>
        <p15:guide id="13" orient="horz" pos="2369">
          <p15:clr>
            <a:srgbClr val="A4A3A4"/>
          </p15:clr>
        </p15:guide>
        <p15:guide id="14" orient="horz" pos="2934">
          <p15:clr>
            <a:srgbClr val="A4A3A4"/>
          </p15:clr>
        </p15:guide>
        <p15:guide id="15" orient="horz" pos="3318">
          <p15:clr>
            <a:srgbClr val="A4A3A4"/>
          </p15:clr>
        </p15:guide>
        <p15:guide id="16" orient="horz" pos="666">
          <p15:clr>
            <a:srgbClr val="A4A3A4"/>
          </p15:clr>
        </p15:guide>
        <p15:guide id="17" orient="horz" pos="123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  <p15:guide id="3" orient="horz" pos="3133">
          <p15:clr>
            <a:srgbClr val="A4A3A4"/>
          </p15:clr>
        </p15:guide>
        <p15:guide id="4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kko Vaarnas" initials="MOV" lastIdx="91" clrIdx="0"/>
  <p:cmAuthor id="1" name="Dan Bowtell" initials="DB" lastIdx="2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0A24"/>
    <a:srgbClr val="010000"/>
    <a:srgbClr val="0AE824"/>
    <a:srgbClr val="000024"/>
    <a:srgbClr val="8652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018" autoAdjust="0"/>
    <p:restoredTop sz="99823" autoAdjust="0"/>
  </p:normalViewPr>
  <p:slideViewPr>
    <p:cSldViewPr>
      <p:cViewPr varScale="1">
        <p:scale>
          <a:sx n="142" d="100"/>
          <a:sy n="142" d="100"/>
        </p:scale>
        <p:origin x="-744" y="-102"/>
      </p:cViewPr>
      <p:guideLst>
        <p:guide orient="horz" pos="2160"/>
        <p:guide orient="horz" pos="2478"/>
        <p:guide orient="horz" pos="2843"/>
        <p:guide orient="horz" pos="3521"/>
        <p:guide orient="horz" pos="3982"/>
        <p:guide orient="horz" pos="799"/>
        <p:guide orient="horz" pos="1480"/>
        <p:guide orient="horz" pos="1800"/>
        <p:guide orient="horz" pos="2065"/>
        <p:guide orient="horz" pos="2369"/>
        <p:guide orient="horz" pos="2934"/>
        <p:guide orient="horz" pos="3318"/>
        <p:guide orient="horz" pos="666"/>
        <p:guide orient="horz" pos="1233"/>
        <p:guide pos="2880"/>
        <p:guide pos="2304"/>
        <p:guide pos="52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1" d="100"/>
          <a:sy n="91" d="100"/>
        </p:scale>
        <p:origin x="-2944" y="-120"/>
      </p:cViewPr>
      <p:guideLst>
        <p:guide orient="horz" pos="3127"/>
        <p:guide orient="horz" pos="3133"/>
        <p:guide pos="214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0" y="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296D1462-9DC7-A64D-9485-63BEAA6B305B}" type="datetime1">
              <a:rPr lang="en-US" smtClean="0"/>
              <a:pPr/>
              <a:t>4/1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4517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0" y="944517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AC4D12A0-6203-5A4A-821B-E4E3E512178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86527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36E920AF-4305-2B49-ABB0-67AF83C0F82A}" type="datetime1">
              <a:rPr lang="en-US" smtClean="0"/>
              <a:pPr/>
              <a:t>4/14/2016</a:t>
            </a:fld>
            <a:endParaRPr lang="fi-FI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746125"/>
            <a:ext cx="5965825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fi-FI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23449"/>
            <a:ext cx="5444490" cy="4474845"/>
          </a:xfrm>
          <a:prstGeom prst="rect">
            <a:avLst/>
          </a:prstGeom>
        </p:spPr>
        <p:txBody>
          <a:bodyPr vert="horz" lIns="91431" tIns="45715" rIns="91431" bIns="45715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fi-FI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720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5C437F34-7F85-418F-BB0F-E5D8EC05F9FC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4050782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Etusivun-kuvat_A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770"/>
            <a:ext cx="9144000" cy="380698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297660"/>
            <a:ext cx="8301986" cy="72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pic>
        <p:nvPicPr>
          <p:cNvPr id="4" name="Picture 3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3732902"/>
            <a:ext cx="2022798" cy="420742"/>
          </a:xfrm>
          <a:prstGeom prst="rect">
            <a:avLst/>
          </a:prstGeom>
        </p:spPr>
      </p:pic>
      <p:sp>
        <p:nvSpPr>
          <p:cNvPr id="5" name="Rectangle 5"/>
          <p:cNvSpPr/>
          <p:nvPr userDrawn="1"/>
        </p:nvSpPr>
        <p:spPr>
          <a:xfrm>
            <a:off x="2110010" y="3732132"/>
            <a:ext cx="7037164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79998" y="5025897"/>
            <a:ext cx="2984004" cy="382661"/>
          </a:xfrm>
          <a:solidFill>
            <a:srgbClr val="010000">
              <a:alpha val="0"/>
            </a:srgbClr>
          </a:solidFill>
        </p:spPr>
        <p:txBody>
          <a:bodyPr wrap="none" lIns="216000" tIns="72000" rIns="216000" bIns="93600" anchor="t" anchorCtr="0">
            <a:spAutoFit/>
          </a:bodyPr>
          <a:lstStyle>
            <a:lvl1pPr marL="0" indent="0" algn="ctr">
              <a:spcBef>
                <a:spcPts val="18"/>
              </a:spcBef>
              <a:buNone/>
              <a:defRPr sz="1400" b="1" baseline="0">
                <a:solidFill>
                  <a:srgbClr val="28B4C8"/>
                </a:solidFill>
                <a:effectLst/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 •  Name of the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55572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70" y="553244"/>
            <a:ext cx="5133634" cy="720000"/>
          </a:xfrm>
        </p:spPr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81600" y="1370836"/>
            <a:ext cx="5126504" cy="40069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550" y="342901"/>
            <a:ext cx="3348943" cy="53755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736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Sivukuvat_C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3343275" cy="572059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41485" y="553244"/>
            <a:ext cx="5133634" cy="720000"/>
          </a:xfrm>
        </p:spPr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3648615" y="1370836"/>
            <a:ext cx="5126504" cy="40069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-622"/>
            <a:ext cx="2022798" cy="420742"/>
          </a:xfrm>
          <a:prstGeom prst="rect">
            <a:avLst/>
          </a:prstGeom>
        </p:spPr>
      </p:pic>
      <p:sp>
        <p:nvSpPr>
          <p:cNvPr id="10" name="Rectangle 5"/>
          <p:cNvSpPr/>
          <p:nvPr userDrawn="1"/>
        </p:nvSpPr>
        <p:spPr>
          <a:xfrm>
            <a:off x="2110010" y="-3173"/>
            <a:ext cx="6494438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518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162"/>
            <a:ext cx="3346450" cy="572065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41485" y="553244"/>
            <a:ext cx="5133634" cy="720000"/>
          </a:xfrm>
        </p:spPr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3648615" y="1370836"/>
            <a:ext cx="5126504" cy="40069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-622"/>
            <a:ext cx="2022798" cy="420742"/>
          </a:xfrm>
          <a:prstGeom prst="rect">
            <a:avLst/>
          </a:prstGeom>
        </p:spPr>
      </p:pic>
      <p:sp>
        <p:nvSpPr>
          <p:cNvPr id="10" name="Rectangle 5"/>
          <p:cNvSpPr/>
          <p:nvPr userDrawn="1"/>
        </p:nvSpPr>
        <p:spPr>
          <a:xfrm>
            <a:off x="2110010" y="-3173"/>
            <a:ext cx="6494438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2775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2421"/>
            <a:ext cx="3343275" cy="572059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41485" y="553244"/>
            <a:ext cx="5133634" cy="720000"/>
          </a:xfrm>
        </p:spPr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3648615" y="1370836"/>
            <a:ext cx="5126504" cy="40069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-622"/>
            <a:ext cx="2022798" cy="420742"/>
          </a:xfrm>
          <a:prstGeom prst="rect">
            <a:avLst/>
          </a:prstGeom>
        </p:spPr>
      </p:pic>
      <p:sp>
        <p:nvSpPr>
          <p:cNvPr id="10" name="Rectangle 5"/>
          <p:cNvSpPr/>
          <p:nvPr userDrawn="1"/>
        </p:nvSpPr>
        <p:spPr>
          <a:xfrm>
            <a:off x="2110010" y="-3173"/>
            <a:ext cx="6494438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8159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08" y="-4679"/>
            <a:ext cx="3344883" cy="572334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41485" y="553244"/>
            <a:ext cx="5133634" cy="720000"/>
          </a:xfrm>
        </p:spPr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1"/>
          </p:nvPr>
        </p:nvSpPr>
        <p:spPr>
          <a:xfrm>
            <a:off x="3648615" y="1370836"/>
            <a:ext cx="5126504" cy="40069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-622"/>
            <a:ext cx="2022798" cy="420742"/>
          </a:xfrm>
          <a:prstGeom prst="rect">
            <a:avLst/>
          </a:prstGeom>
        </p:spPr>
      </p:pic>
      <p:sp>
        <p:nvSpPr>
          <p:cNvPr id="10" name="Rectangle 5"/>
          <p:cNvSpPr/>
          <p:nvPr userDrawn="1"/>
        </p:nvSpPr>
        <p:spPr>
          <a:xfrm>
            <a:off x="2110010" y="-3173"/>
            <a:ext cx="6494438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0931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349850" y="1345332"/>
            <a:ext cx="4038600" cy="403244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345332"/>
            <a:ext cx="4038600" cy="403244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96771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349850" y="1759596"/>
            <a:ext cx="4038600" cy="3618184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616450" y="1759596"/>
            <a:ext cx="4038600" cy="3618184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614334" y="1342282"/>
            <a:ext cx="4053416" cy="416343"/>
          </a:xfrm>
        </p:spPr>
        <p:txBody>
          <a:bodyPr anchor="ctr" anchorCtr="0"/>
          <a:lstStyle>
            <a:lvl1pPr marL="0" indent="0" algn="l">
              <a:buNone/>
              <a:defRPr sz="1900" b="1">
                <a:solidFill>
                  <a:srgbClr val="252525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48928" y="1338937"/>
            <a:ext cx="4051622" cy="416343"/>
          </a:xfrm>
        </p:spPr>
        <p:txBody>
          <a:bodyPr anchor="ctr" anchorCtr="0"/>
          <a:lstStyle>
            <a:lvl1pPr marL="0" indent="0" algn="l">
              <a:buNone/>
              <a:defRPr sz="1900" b="1">
                <a:solidFill>
                  <a:schemeClr val="tx1"/>
                </a:solidFill>
                <a:latin typeface="Trebuchet MS"/>
                <a:cs typeface="Trebuchet MS"/>
              </a:defRPr>
            </a:lvl1pPr>
          </a:lstStyle>
          <a:p>
            <a:pPr lvl="0"/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81352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70076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65125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3217540"/>
            <a:ext cx="9142338" cy="25101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Rectangle 39"/>
          <p:cNvSpPr>
            <a:spLocks noChangeArrowheads="1"/>
          </p:cNvSpPr>
          <p:nvPr userDrawn="1"/>
        </p:nvSpPr>
        <p:spPr bwMode="black">
          <a:xfrm>
            <a:off x="2016224" y="3486418"/>
            <a:ext cx="5076056" cy="523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29" tIns="45715" rIns="91429" bIns="45715" anchor="ctr">
            <a:spAutoFit/>
          </a:bodyPr>
          <a:lstStyle/>
          <a:p>
            <a:pPr algn="ctr"/>
            <a:r>
              <a:rPr lang="en-GB" sz="2800" b="1" i="1" baseline="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www.actuary.fi</a:t>
            </a:r>
            <a:endParaRPr lang="en-US" sz="2800" b="1" i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sp>
        <p:nvSpPr>
          <p:cNvPr id="8" name="Rectangle 39"/>
          <p:cNvSpPr>
            <a:spLocks noChangeArrowheads="1"/>
          </p:cNvSpPr>
          <p:nvPr userDrawn="1"/>
        </p:nvSpPr>
        <p:spPr bwMode="black">
          <a:xfrm>
            <a:off x="0" y="4104456"/>
            <a:ext cx="9144000" cy="338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29" tIns="45715" rIns="91429" bIns="45715" anchor="ctr">
            <a:spAutoFit/>
          </a:bodyPr>
          <a:lstStyle/>
          <a:p>
            <a:pPr algn="ctr"/>
            <a:r>
              <a:rPr lang="en-GB" sz="1600" b="0" i="1" baseline="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Aktuaariyhdistys</a:t>
            </a:r>
            <a:r>
              <a:rPr lang="en-GB" sz="1600" b="0" i="1" baseline="0" dirty="0" smtClean="0">
                <a:solidFill>
                  <a:schemeClr val="bg1"/>
                </a:solidFill>
                <a:latin typeface="Trebuchet MS"/>
                <a:cs typeface="Trebuchet MS"/>
              </a:rPr>
              <a:t> – </a:t>
            </a:r>
            <a:r>
              <a:rPr lang="en-GB" sz="1600" b="0" i="1" baseline="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aktuaarin</a:t>
            </a:r>
            <a:r>
              <a:rPr lang="en-GB" sz="1600" b="0" i="1" baseline="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en-GB" sz="1600" b="0" i="1" baseline="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ammattia</a:t>
            </a:r>
            <a:r>
              <a:rPr lang="en-GB" sz="1600" b="0" i="1" baseline="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en-GB" sz="1600" b="0" i="1" baseline="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kehittäen</a:t>
            </a:r>
            <a:r>
              <a:rPr lang="en-GB" sz="1600" b="0" i="1" baseline="0" dirty="0" smtClean="0">
                <a:solidFill>
                  <a:schemeClr val="bg1"/>
                </a:solidFill>
                <a:latin typeface="Trebuchet MS"/>
                <a:cs typeface="Trebuchet MS"/>
              </a:rPr>
              <a:t>.</a:t>
            </a:r>
            <a:endParaRPr lang="en-US" sz="1600" b="0" i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8521" y="1417340"/>
            <a:ext cx="4029703" cy="936104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9142338" cy="48123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1" name="Rectangle 39"/>
          <p:cNvSpPr>
            <a:spLocks noChangeArrowheads="1"/>
          </p:cNvSpPr>
          <p:nvPr userDrawn="1"/>
        </p:nvSpPr>
        <p:spPr bwMode="black">
          <a:xfrm>
            <a:off x="1588" y="5233764"/>
            <a:ext cx="9144000" cy="246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1429" tIns="45715" rIns="91429" bIns="45715" anchor="ctr">
            <a:spAutoFit/>
          </a:bodyPr>
          <a:lstStyle/>
          <a:p>
            <a:pPr algn="ctr"/>
            <a:r>
              <a:rPr lang="en-GB" sz="1000" b="0" i="1" baseline="0" dirty="0" smtClean="0">
                <a:solidFill>
                  <a:schemeClr val="bg1"/>
                </a:solidFill>
                <a:latin typeface="Trebuchet MS"/>
                <a:cs typeface="Trebuchet MS"/>
              </a:rPr>
              <a:t>© </a:t>
            </a:r>
            <a:r>
              <a:rPr lang="en-GB" sz="1000" b="0" i="1" baseline="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Suomen</a:t>
            </a:r>
            <a:r>
              <a:rPr lang="en-GB" sz="1000" b="0" i="1" baseline="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en-GB" sz="1000" b="0" i="1" baseline="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Aktuaariyhdistys</a:t>
            </a:r>
            <a:r>
              <a:rPr lang="en-GB" sz="1000" b="0" i="1" baseline="0" dirty="0" smtClean="0">
                <a:solidFill>
                  <a:schemeClr val="bg1"/>
                </a:solidFill>
                <a:latin typeface="Trebuchet MS"/>
                <a:cs typeface="Trebuchet MS"/>
              </a:rPr>
              <a:t> </a:t>
            </a:r>
            <a:r>
              <a:rPr lang="en-GB" sz="1000" b="0" i="1" baseline="0" dirty="0" err="1" smtClean="0">
                <a:solidFill>
                  <a:schemeClr val="bg1"/>
                </a:solidFill>
                <a:latin typeface="Trebuchet MS"/>
                <a:cs typeface="Trebuchet MS"/>
              </a:rPr>
              <a:t>ry</a:t>
            </a:r>
            <a:endParaRPr lang="en-US" sz="1000" b="0" i="1" dirty="0">
              <a:solidFill>
                <a:schemeClr val="bg1"/>
              </a:solidFill>
              <a:latin typeface="Trebuchet MS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529600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371"/>
            <a:ext cx="9144000" cy="38061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297660"/>
            <a:ext cx="8301986" cy="72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pic>
        <p:nvPicPr>
          <p:cNvPr id="4" name="Picture 3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3732902"/>
            <a:ext cx="2022798" cy="420742"/>
          </a:xfrm>
          <a:prstGeom prst="rect">
            <a:avLst/>
          </a:prstGeom>
        </p:spPr>
      </p:pic>
      <p:sp>
        <p:nvSpPr>
          <p:cNvPr id="5" name="Rectangle 5"/>
          <p:cNvSpPr/>
          <p:nvPr userDrawn="1"/>
        </p:nvSpPr>
        <p:spPr>
          <a:xfrm>
            <a:off x="2110010" y="3732132"/>
            <a:ext cx="7037164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79998" y="5025897"/>
            <a:ext cx="2984004" cy="382661"/>
          </a:xfrm>
          <a:solidFill>
            <a:srgbClr val="010000">
              <a:alpha val="0"/>
            </a:srgbClr>
          </a:solidFill>
        </p:spPr>
        <p:txBody>
          <a:bodyPr wrap="none" lIns="216000" tIns="72000" rIns="216000" bIns="93600" anchor="t" anchorCtr="0">
            <a:spAutoFit/>
          </a:bodyPr>
          <a:lstStyle>
            <a:lvl1pPr marL="0" indent="0" algn="ctr">
              <a:spcBef>
                <a:spcPts val="18"/>
              </a:spcBef>
              <a:buNone/>
              <a:defRPr sz="1400" b="1" baseline="0">
                <a:solidFill>
                  <a:srgbClr val="28B4C8"/>
                </a:solidFill>
                <a:effectLst/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 •  Name of the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422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371"/>
            <a:ext cx="9144000" cy="38061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297660"/>
            <a:ext cx="8301986" cy="72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pic>
        <p:nvPicPr>
          <p:cNvPr id="4" name="Picture 3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3732902"/>
            <a:ext cx="2022798" cy="420742"/>
          </a:xfrm>
          <a:prstGeom prst="rect">
            <a:avLst/>
          </a:prstGeom>
        </p:spPr>
      </p:pic>
      <p:sp>
        <p:nvSpPr>
          <p:cNvPr id="5" name="Rectangle 5"/>
          <p:cNvSpPr/>
          <p:nvPr userDrawn="1"/>
        </p:nvSpPr>
        <p:spPr>
          <a:xfrm>
            <a:off x="2110010" y="3732132"/>
            <a:ext cx="7037164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79998" y="5025897"/>
            <a:ext cx="2984004" cy="382661"/>
          </a:xfrm>
          <a:solidFill>
            <a:srgbClr val="010000">
              <a:alpha val="0"/>
            </a:srgbClr>
          </a:solidFill>
        </p:spPr>
        <p:txBody>
          <a:bodyPr wrap="none" lIns="216000" tIns="72000" rIns="216000" bIns="93600" anchor="t" anchorCtr="0">
            <a:spAutoFit/>
          </a:bodyPr>
          <a:lstStyle>
            <a:lvl1pPr marL="0" indent="0" algn="ctr">
              <a:spcBef>
                <a:spcPts val="18"/>
              </a:spcBef>
              <a:buNone/>
              <a:defRPr sz="1400" b="1" baseline="0">
                <a:solidFill>
                  <a:srgbClr val="28B4C8"/>
                </a:solidFill>
                <a:effectLst/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 •  Name of the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678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371"/>
            <a:ext cx="9144000" cy="38061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297660"/>
            <a:ext cx="8301986" cy="72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pic>
        <p:nvPicPr>
          <p:cNvPr id="4" name="Picture 3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3732902"/>
            <a:ext cx="2022798" cy="420742"/>
          </a:xfrm>
          <a:prstGeom prst="rect">
            <a:avLst/>
          </a:prstGeom>
        </p:spPr>
      </p:pic>
      <p:sp>
        <p:nvSpPr>
          <p:cNvPr id="5" name="Rectangle 5"/>
          <p:cNvSpPr/>
          <p:nvPr userDrawn="1"/>
        </p:nvSpPr>
        <p:spPr>
          <a:xfrm>
            <a:off x="2110010" y="3732132"/>
            <a:ext cx="7037164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79998" y="5025897"/>
            <a:ext cx="2984004" cy="382661"/>
          </a:xfrm>
          <a:solidFill>
            <a:srgbClr val="010000">
              <a:alpha val="0"/>
            </a:srgbClr>
          </a:solidFill>
        </p:spPr>
        <p:txBody>
          <a:bodyPr wrap="none" lIns="216000" tIns="72000" rIns="216000" bIns="93600" anchor="t" anchorCtr="0">
            <a:spAutoFit/>
          </a:bodyPr>
          <a:lstStyle>
            <a:lvl1pPr marL="0" indent="0" algn="ctr">
              <a:spcBef>
                <a:spcPts val="18"/>
              </a:spcBef>
              <a:buNone/>
              <a:defRPr sz="1400" b="1" baseline="0">
                <a:solidFill>
                  <a:srgbClr val="28B4C8"/>
                </a:solidFill>
                <a:effectLst/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 •  Name of the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9412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371"/>
            <a:ext cx="9144000" cy="38061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297660"/>
            <a:ext cx="8301986" cy="72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pic>
        <p:nvPicPr>
          <p:cNvPr id="4" name="Picture 3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3732902"/>
            <a:ext cx="2022798" cy="420742"/>
          </a:xfrm>
          <a:prstGeom prst="rect">
            <a:avLst/>
          </a:prstGeom>
        </p:spPr>
      </p:pic>
      <p:sp>
        <p:nvSpPr>
          <p:cNvPr id="5" name="Rectangle 5"/>
          <p:cNvSpPr/>
          <p:nvPr userDrawn="1"/>
        </p:nvSpPr>
        <p:spPr>
          <a:xfrm>
            <a:off x="2110010" y="3732132"/>
            <a:ext cx="7037164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79998" y="5025897"/>
            <a:ext cx="2984004" cy="382661"/>
          </a:xfrm>
          <a:solidFill>
            <a:srgbClr val="010000">
              <a:alpha val="0"/>
            </a:srgbClr>
          </a:solidFill>
        </p:spPr>
        <p:txBody>
          <a:bodyPr wrap="none" lIns="216000" tIns="72000" rIns="216000" bIns="93600" anchor="t" anchorCtr="0">
            <a:spAutoFit/>
          </a:bodyPr>
          <a:lstStyle>
            <a:lvl1pPr marL="0" indent="0" algn="ctr">
              <a:spcBef>
                <a:spcPts val="18"/>
              </a:spcBef>
              <a:buNone/>
              <a:defRPr sz="1400" b="1" baseline="0">
                <a:solidFill>
                  <a:srgbClr val="28B4C8"/>
                </a:solidFill>
                <a:effectLst/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 •  Name of the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6966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371"/>
            <a:ext cx="9144000" cy="38061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4297660"/>
            <a:ext cx="8301986" cy="720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pic>
        <p:nvPicPr>
          <p:cNvPr id="4" name="Picture 3" descr="Logo_Aktuaariyhdistys_PowerPoint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3732902"/>
            <a:ext cx="2022798" cy="420742"/>
          </a:xfrm>
          <a:prstGeom prst="rect">
            <a:avLst/>
          </a:prstGeom>
        </p:spPr>
      </p:pic>
      <p:sp>
        <p:nvSpPr>
          <p:cNvPr id="5" name="Rectangle 5"/>
          <p:cNvSpPr/>
          <p:nvPr userDrawn="1"/>
        </p:nvSpPr>
        <p:spPr>
          <a:xfrm>
            <a:off x="2110010" y="3732132"/>
            <a:ext cx="7037164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79998" y="5025897"/>
            <a:ext cx="2984004" cy="382661"/>
          </a:xfrm>
          <a:solidFill>
            <a:srgbClr val="010000">
              <a:alpha val="0"/>
            </a:srgbClr>
          </a:solidFill>
        </p:spPr>
        <p:txBody>
          <a:bodyPr wrap="none" lIns="216000" tIns="72000" rIns="216000" bIns="93600" anchor="t" anchorCtr="0">
            <a:spAutoFit/>
          </a:bodyPr>
          <a:lstStyle>
            <a:lvl1pPr marL="0" indent="0" algn="ctr">
              <a:spcBef>
                <a:spcPts val="18"/>
              </a:spcBef>
              <a:buNone/>
              <a:defRPr sz="1400" b="1" baseline="0">
                <a:solidFill>
                  <a:srgbClr val="28B4C8"/>
                </a:solidFill>
                <a:effectLst/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 •  Name of the presen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5177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70" y="553244"/>
            <a:ext cx="5133634" cy="720000"/>
          </a:xfrm>
        </p:spPr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81600" y="1370836"/>
            <a:ext cx="5126504" cy="40069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4" name="Picture 3" descr="Sivukuvat_A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1654" y="346075"/>
            <a:ext cx="3344840" cy="536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14548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70" y="553244"/>
            <a:ext cx="5133634" cy="720000"/>
          </a:xfrm>
        </p:spPr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81600" y="1370836"/>
            <a:ext cx="5126504" cy="40069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1654" y="346075"/>
            <a:ext cx="3344840" cy="5368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348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470" y="553244"/>
            <a:ext cx="5133634" cy="720000"/>
          </a:xfrm>
        </p:spPr>
        <p:txBody>
          <a:bodyPr/>
          <a:lstStyle/>
          <a:p>
            <a:r>
              <a:rPr lang="fi-FI" dirty="0" err="1" smtClean="0"/>
              <a:t>Click</a:t>
            </a:r>
            <a:r>
              <a:rPr lang="fi-FI" dirty="0" smtClean="0"/>
              <a:t> to </a:t>
            </a:r>
            <a:r>
              <a:rPr lang="fi-FI" dirty="0" err="1" smtClean="0"/>
              <a:t>edit</a:t>
            </a:r>
            <a:r>
              <a:rPr lang="fi-FI" dirty="0" smtClean="0"/>
              <a:t> </a:t>
            </a:r>
            <a:r>
              <a:rPr lang="fi-FI" dirty="0" err="1" smtClean="0"/>
              <a:t>Master</a:t>
            </a:r>
            <a:r>
              <a:rPr lang="fi-FI" dirty="0" smtClean="0"/>
              <a:t> </a:t>
            </a:r>
            <a:r>
              <a:rPr lang="fi-FI" dirty="0" err="1" smtClean="0"/>
              <a:t>title</a:t>
            </a:r>
            <a:r>
              <a:rPr lang="fi-FI" dirty="0" smtClean="0"/>
              <a:t> </a:t>
            </a:r>
            <a:r>
              <a:rPr lang="fi-FI" dirty="0" err="1" smtClean="0"/>
              <a:t>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81600" y="1370836"/>
            <a:ext cx="5126504" cy="4006944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7550" y="346075"/>
            <a:ext cx="3348943" cy="5375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7257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191334484"/>
              </p:ext>
            </p:extLst>
          </p:nvPr>
        </p:nvGraphicFramePr>
        <p:xfrm>
          <a:off x="1591" y="1324"/>
          <a:ext cx="1587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2" name="think-cell Slide" r:id="rId23" imgW="6350000" imgH="6350000" progId="">
                  <p:embed/>
                </p:oleObj>
              </mc:Choice>
              <mc:Fallback>
                <p:oleObj name="think-cell Slide" r:id="rId23" imgW="6350000" imgH="6350000" progId="">
                  <p:embed/>
                  <p:pic>
                    <p:nvPicPr>
                      <p:cNvPr id="0" name="Picture 5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324"/>
                        <a:ext cx="1587" cy="13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4470" y="553244"/>
            <a:ext cx="8301986" cy="720000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600" y="1370836"/>
            <a:ext cx="8294400" cy="40069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5" name="Picture 4" descr="Logo_Aktuaariyhdistys_PowerPoint.png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-622"/>
            <a:ext cx="2022798" cy="420742"/>
          </a:xfrm>
          <a:prstGeom prst="rect">
            <a:avLst/>
          </a:prstGeom>
        </p:spPr>
      </p:pic>
      <p:sp>
        <p:nvSpPr>
          <p:cNvPr id="6" name="Rectangle 5"/>
          <p:cNvSpPr/>
          <p:nvPr userDrawn="1"/>
        </p:nvSpPr>
        <p:spPr>
          <a:xfrm>
            <a:off x="2110010" y="-3173"/>
            <a:ext cx="7037164" cy="349919"/>
          </a:xfrm>
          <a:custGeom>
            <a:avLst/>
            <a:gdLst>
              <a:gd name="connsiteX0" fmla="*/ 0 w 6957789"/>
              <a:gd name="connsiteY0" fmla="*/ 0 h 346744"/>
              <a:gd name="connsiteX1" fmla="*/ 6957789 w 6957789"/>
              <a:gd name="connsiteY1" fmla="*/ 0 h 346744"/>
              <a:gd name="connsiteX2" fmla="*/ 6957789 w 6957789"/>
              <a:gd name="connsiteY2" fmla="*/ 346744 h 346744"/>
              <a:gd name="connsiteX3" fmla="*/ 0 w 6957789"/>
              <a:gd name="connsiteY3" fmla="*/ 346744 h 346744"/>
              <a:gd name="connsiteX4" fmla="*/ 0 w 6957789"/>
              <a:gd name="connsiteY4" fmla="*/ 0 h 346744"/>
              <a:gd name="connsiteX0" fmla="*/ 76200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76200 w 7033989"/>
              <a:gd name="connsiteY4" fmla="*/ 0 h 349919"/>
              <a:gd name="connsiteX0" fmla="*/ 73025 w 7033989"/>
              <a:gd name="connsiteY0" fmla="*/ 0 h 362619"/>
              <a:gd name="connsiteX1" fmla="*/ 7033989 w 7033989"/>
              <a:gd name="connsiteY1" fmla="*/ 12700 h 362619"/>
              <a:gd name="connsiteX2" fmla="*/ 7033989 w 7033989"/>
              <a:gd name="connsiteY2" fmla="*/ 359444 h 362619"/>
              <a:gd name="connsiteX3" fmla="*/ 0 w 7033989"/>
              <a:gd name="connsiteY3" fmla="*/ 362619 h 362619"/>
              <a:gd name="connsiteX4" fmla="*/ 73025 w 7033989"/>
              <a:gd name="connsiteY4" fmla="*/ 0 h 362619"/>
              <a:gd name="connsiteX0" fmla="*/ 66675 w 7033989"/>
              <a:gd name="connsiteY0" fmla="*/ 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6675 w 7033989"/>
              <a:gd name="connsiteY4" fmla="*/ 0 h 349919"/>
              <a:gd name="connsiteX0" fmla="*/ 63500 w 7033989"/>
              <a:gd name="connsiteY0" fmla="*/ 12700 h 349919"/>
              <a:gd name="connsiteX1" fmla="*/ 7033989 w 7033989"/>
              <a:gd name="connsiteY1" fmla="*/ 0 h 349919"/>
              <a:gd name="connsiteX2" fmla="*/ 7033989 w 7033989"/>
              <a:gd name="connsiteY2" fmla="*/ 346744 h 349919"/>
              <a:gd name="connsiteX3" fmla="*/ 0 w 7033989"/>
              <a:gd name="connsiteY3" fmla="*/ 349919 h 349919"/>
              <a:gd name="connsiteX4" fmla="*/ 63500 w 7033989"/>
              <a:gd name="connsiteY4" fmla="*/ 12700 h 349919"/>
              <a:gd name="connsiteX0" fmla="*/ 66675 w 7037164"/>
              <a:gd name="connsiteY0" fmla="*/ 12700 h 353094"/>
              <a:gd name="connsiteX1" fmla="*/ 7037164 w 7037164"/>
              <a:gd name="connsiteY1" fmla="*/ 0 h 353094"/>
              <a:gd name="connsiteX2" fmla="*/ 7037164 w 7037164"/>
              <a:gd name="connsiteY2" fmla="*/ 346744 h 353094"/>
              <a:gd name="connsiteX3" fmla="*/ 0 w 7037164"/>
              <a:gd name="connsiteY3" fmla="*/ 353094 h 353094"/>
              <a:gd name="connsiteX4" fmla="*/ 66675 w 7037164"/>
              <a:gd name="connsiteY4" fmla="*/ 12700 h 353094"/>
              <a:gd name="connsiteX0" fmla="*/ 63500 w 7033989"/>
              <a:gd name="connsiteY0" fmla="*/ 12700 h 346744"/>
              <a:gd name="connsiteX1" fmla="*/ 7033989 w 7033989"/>
              <a:gd name="connsiteY1" fmla="*/ 0 h 346744"/>
              <a:gd name="connsiteX2" fmla="*/ 7033989 w 7033989"/>
              <a:gd name="connsiteY2" fmla="*/ 346744 h 346744"/>
              <a:gd name="connsiteX3" fmla="*/ 0 w 7033989"/>
              <a:gd name="connsiteY3" fmla="*/ 321344 h 346744"/>
              <a:gd name="connsiteX4" fmla="*/ 63500 w 7033989"/>
              <a:gd name="connsiteY4" fmla="*/ 12700 h 346744"/>
              <a:gd name="connsiteX0" fmla="*/ 57150 w 7027639"/>
              <a:gd name="connsiteY0" fmla="*/ 12700 h 346744"/>
              <a:gd name="connsiteX1" fmla="*/ 7027639 w 7027639"/>
              <a:gd name="connsiteY1" fmla="*/ 0 h 346744"/>
              <a:gd name="connsiteX2" fmla="*/ 7027639 w 7027639"/>
              <a:gd name="connsiteY2" fmla="*/ 346744 h 346744"/>
              <a:gd name="connsiteX3" fmla="*/ 0 w 7027639"/>
              <a:gd name="connsiteY3" fmla="*/ 346744 h 346744"/>
              <a:gd name="connsiteX4" fmla="*/ 57150 w 7027639"/>
              <a:gd name="connsiteY4" fmla="*/ 12700 h 346744"/>
              <a:gd name="connsiteX0" fmla="*/ 66675 w 7037164"/>
              <a:gd name="connsiteY0" fmla="*/ 1270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12700 h 346744"/>
              <a:gd name="connsiteX0" fmla="*/ 63500 w 7037164"/>
              <a:gd name="connsiteY0" fmla="*/ 635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3500 w 7037164"/>
              <a:gd name="connsiteY4" fmla="*/ 6350 h 346744"/>
              <a:gd name="connsiteX0" fmla="*/ 66675 w 7037164"/>
              <a:gd name="connsiteY0" fmla="*/ 0 h 346744"/>
              <a:gd name="connsiteX1" fmla="*/ 7037164 w 7037164"/>
              <a:gd name="connsiteY1" fmla="*/ 0 h 346744"/>
              <a:gd name="connsiteX2" fmla="*/ 7037164 w 7037164"/>
              <a:gd name="connsiteY2" fmla="*/ 346744 h 346744"/>
              <a:gd name="connsiteX3" fmla="*/ 0 w 7037164"/>
              <a:gd name="connsiteY3" fmla="*/ 346744 h 346744"/>
              <a:gd name="connsiteX4" fmla="*/ 66675 w 7037164"/>
              <a:gd name="connsiteY4" fmla="*/ 0 h 346744"/>
              <a:gd name="connsiteX0" fmla="*/ 66675 w 7037164"/>
              <a:gd name="connsiteY0" fmla="*/ 0 h 349919"/>
              <a:gd name="connsiteX1" fmla="*/ 7037164 w 7037164"/>
              <a:gd name="connsiteY1" fmla="*/ 0 h 349919"/>
              <a:gd name="connsiteX2" fmla="*/ 7037164 w 7037164"/>
              <a:gd name="connsiteY2" fmla="*/ 346744 h 349919"/>
              <a:gd name="connsiteX3" fmla="*/ 0 w 7037164"/>
              <a:gd name="connsiteY3" fmla="*/ 349919 h 349919"/>
              <a:gd name="connsiteX4" fmla="*/ 66675 w 7037164"/>
              <a:gd name="connsiteY4" fmla="*/ 0 h 349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37164" h="349919">
                <a:moveTo>
                  <a:pt x="66675" y="0"/>
                </a:moveTo>
                <a:lnTo>
                  <a:pt x="7037164" y="0"/>
                </a:lnTo>
                <a:lnTo>
                  <a:pt x="7037164" y="346744"/>
                </a:lnTo>
                <a:lnTo>
                  <a:pt x="0" y="349919"/>
                </a:lnTo>
                <a:lnTo>
                  <a:pt x="66675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" name="Slide Number Placeholder 14"/>
          <p:cNvSpPr>
            <a:spLocks noGrp="1"/>
          </p:cNvSpPr>
          <p:nvPr>
            <p:ph type="sldNum" sz="quarter" idx="4"/>
          </p:nvPr>
        </p:nvSpPr>
        <p:spPr bwMode="black">
          <a:xfrm>
            <a:off x="8618808" y="49188"/>
            <a:ext cx="469300" cy="249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spcBef>
                <a:spcPts val="720"/>
              </a:spcBef>
              <a:defRPr sz="900" b="1" i="1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 smtClean="0"/>
              <a:t> </a:t>
            </a:r>
            <a:fld id="{DF517684-8BC9-7E42-93B6-58FBD69491F7}" type="slidenum">
              <a:rPr lang="en-US" smtClean="0"/>
              <a:pPr algn="r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08" r:id="rId7"/>
    <p:sldLayoutId id="2147483710" r:id="rId8"/>
    <p:sldLayoutId id="2147483711" r:id="rId9"/>
    <p:sldLayoutId id="2147483712" r:id="rId10"/>
    <p:sldLayoutId id="2147483713" r:id="rId11"/>
    <p:sldLayoutId id="2147483715" r:id="rId12"/>
    <p:sldLayoutId id="2147483714" r:id="rId13"/>
    <p:sldLayoutId id="2147483716" r:id="rId14"/>
    <p:sldLayoutId id="2147483707" r:id="rId15"/>
    <p:sldLayoutId id="2147483706" r:id="rId16"/>
    <p:sldLayoutId id="2147483704" r:id="rId17"/>
    <p:sldLayoutId id="2147483705" r:id="rId18"/>
    <p:sldLayoutId id="2147483686" r:id="rId19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spcBef>
          <a:spcPts val="700"/>
        </a:spcBef>
        <a:buFont typeface="Trebuchet MS" pitchFamily="34" charset="0"/>
        <a:buChar char="•"/>
        <a:defRPr sz="15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525600" indent="-190800" algn="l" defTabSz="914400" rtl="0" eaLnBrk="1" latinLnBrk="0" hangingPunct="1">
        <a:spcBef>
          <a:spcPts val="300"/>
        </a:spcBef>
        <a:buFont typeface="Trebuchet MS" pitchFamily="34" charset="0"/>
        <a:buChar char="◦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741600" indent="-183600" algn="l" defTabSz="914400" rtl="0" eaLnBrk="1" latinLnBrk="0" hangingPunct="1">
        <a:spcBef>
          <a:spcPts val="500"/>
        </a:spcBef>
        <a:buFont typeface="Lucida Grande"/>
        <a:buChar char="-"/>
        <a:defRPr sz="13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939600" indent="-172800" algn="l" defTabSz="914400" rtl="0" eaLnBrk="1" latinLnBrk="0" hangingPunct="1">
        <a:spcBef>
          <a:spcPts val="500"/>
        </a:spcBef>
        <a:buFont typeface="Trebuchet MS" pitchFamily="34" charset="0"/>
        <a:buChar char="◦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166400" indent="-183600" algn="l" defTabSz="914400" rtl="0" eaLnBrk="1" latinLnBrk="0" hangingPunct="1">
        <a:spcBef>
          <a:spcPts val="500"/>
        </a:spcBef>
        <a:buFont typeface="Trebuchet MS" pitchFamily="34" charset="0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579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2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137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3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7955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4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209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5</a:t>
            </a:fld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278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020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r>
              <a:rPr lang="en-US" smtClean="0"/>
              <a:t> </a:t>
            </a:r>
            <a:fld id="{DF517684-8BC9-7E42-93B6-58FBD69491F7}" type="slidenum">
              <a:rPr lang="en-US" smtClean="0"/>
              <a:pPr algn="r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611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074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akeoff Partners">
  <a:themeElements>
    <a:clrScheme name="Aktuaari Yhdistys">
      <a:dk1>
        <a:srgbClr val="000000"/>
      </a:dk1>
      <a:lt1>
        <a:sysClr val="window" lastClr="FFFFFF"/>
      </a:lt1>
      <a:dk2>
        <a:srgbClr val="28B4C8"/>
      </a:dk2>
      <a:lt2>
        <a:srgbClr val="13558F"/>
      </a:lt2>
      <a:accent1>
        <a:srgbClr val="28B4C8"/>
      </a:accent1>
      <a:accent2>
        <a:srgbClr val="13558F"/>
      </a:accent2>
      <a:accent3>
        <a:srgbClr val="94959A"/>
      </a:accent3>
      <a:accent4>
        <a:srgbClr val="1B93AF"/>
      </a:accent4>
      <a:accent5>
        <a:srgbClr val="AAABAF"/>
      </a:accent5>
      <a:accent6>
        <a:srgbClr val="C7C8CA"/>
      </a:accent6>
      <a:hlink>
        <a:srgbClr val="1B93AF"/>
      </a:hlink>
      <a:folHlink>
        <a:srgbClr val="13558F"/>
      </a:folHlink>
    </a:clrScheme>
    <a:fontScheme name="Custom 1">
      <a:majorFont>
        <a:latin typeface="Trebuchet MS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>
          <a:defRPr dirty="0" smtClean="0">
            <a:solidFill>
              <a:schemeClr val="tx1">
                <a:lumMod val="85000"/>
                <a:lumOff val="15000"/>
              </a:schemeClr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91440" tIns="45720" rIns="91440" bIns="45720" rtlCol="0">
        <a:noAutofit/>
      </a:bodyPr>
      <a:lstStyle>
        <a:defPPr marL="15875" marR="0" indent="-15875" algn="l" defTabSz="914400" rtl="0" eaLnBrk="1" fontAlgn="auto" latinLnBrk="0" hangingPunct="1">
          <a:lnSpc>
            <a:spcPct val="100000"/>
          </a:lnSpc>
          <a:spcBef>
            <a:spcPts val="432"/>
          </a:spcBef>
          <a:spcAft>
            <a:spcPts val="0"/>
          </a:spcAft>
          <a:buClrTx/>
          <a:buSzTx/>
          <a:buFont typeface="Trebuchet MS" pitchFamily="34" charset="0"/>
          <a:buNone/>
          <a:tabLst/>
          <a:defRPr kumimoji="0" sz="1200" b="0" i="0" u="none" strike="noStrike" kern="1200" cap="none" spc="0" normalizeH="0" baseline="0" noProof="0" dirty="0" smtClean="0">
            <a:ln>
              <a:noFill/>
            </a:ln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98BD73EC5480C5408F65893BB1DABE89" ma:contentTypeVersion="1" ma:contentTypeDescription="Luo uusi asiakirja." ma:contentTypeScope="" ma:versionID="121fa9c774de5f919d96ce874b8f9c68">
  <xsd:schema xmlns:xsd="http://www.w3.org/2001/XMLSchema" xmlns:xs="http://www.w3.org/2001/XMLSchema" xmlns:p="http://schemas.microsoft.com/office/2006/metadata/properties" xmlns:ns3="9374a1c5-234a-41a5-a8d9-9af6f5f9841a" targetNamespace="http://schemas.microsoft.com/office/2006/metadata/properties" ma:root="true" ma:fieldsID="7525ffc240167141336e35c775fad3f7" ns3:_="">
    <xsd:import namespace="9374a1c5-234a-41a5-a8d9-9af6f5f9841a"/>
    <xsd:element name="properties">
      <xsd:complexType>
        <xsd:sequence>
          <xsd:element name="documentManagement">
            <xsd:complexType>
              <xsd:all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74a1c5-234a-41a5-a8d9-9af6f5f9841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08ACF7-C860-416B-A2F6-695EA8DA3F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374a1c5-234a-41a5-a8d9-9af6f5f984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E982829-14B1-4A64-8DB3-80EE00C11D9C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9374a1c5-234a-41a5-a8d9-9af6f5f9841a"/>
  </ds:schemaRefs>
</ds:datastoreItem>
</file>

<file path=customXml/itemProps3.xml><?xml version="1.0" encoding="utf-8"?>
<ds:datastoreItem xmlns:ds="http://schemas.openxmlformats.org/officeDocument/2006/customXml" ds:itemID="{5B8EA903-7785-4E53-BD3E-78DB1892B90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855</TotalTime>
  <Words>12</Words>
  <Application>Microsoft Office PowerPoint</Application>
  <PresentationFormat>Näytössä katseltava esitys (16:10)</PresentationFormat>
  <Paragraphs>6</Paragraphs>
  <Slides>8</Slides>
  <Notes>0</Notes>
  <HiddenSlides>0</HiddenSlides>
  <MMClips>0</MMClips>
  <ScaleCrop>false</ScaleCrop>
  <HeadingPairs>
    <vt:vector size="6" baseType="variant"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8</vt:i4>
      </vt:variant>
    </vt:vector>
  </HeadingPairs>
  <TitlesOfParts>
    <vt:vector size="10" baseType="lpstr">
      <vt:lpstr>Takeoff Partners</vt:lpstr>
      <vt:lpstr>think-cell Slide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Manager/>
  <Company>Aktuaariyhdistys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ktuaariyhdistys</dc:title>
  <dc:subject/>
  <dc:creator/>
  <cp:keywords/>
  <dc:description/>
  <cp:lastModifiedBy>Timonen Vesa</cp:lastModifiedBy>
  <cp:revision>2320</cp:revision>
  <cp:lastPrinted>2014-04-03T11:31:05Z</cp:lastPrinted>
  <dcterms:created xsi:type="dcterms:W3CDTF">2014-05-09T10:13:01Z</dcterms:created>
  <dcterms:modified xsi:type="dcterms:W3CDTF">2016-04-14T09:56:4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8BD73EC5480C5408F65893BB1DABE89</vt:lpwstr>
  </property>
  <property fmtid="{D5CDD505-2E9C-101B-9397-08002B2CF9AE}" pid="3" name="TemplateUrl">
    <vt:lpwstr/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Order">
    <vt:r8>308900</vt:r8>
  </property>
</Properties>
</file>